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1"/>
  </p:notesMasterIdLst>
  <p:handoutMasterIdLst>
    <p:handoutMasterId r:id="rId52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283" r:id="rId27"/>
    <p:sldId id="296" r:id="rId28"/>
    <p:sldId id="276" r:id="rId29"/>
    <p:sldId id="306" r:id="rId30"/>
    <p:sldId id="304" r:id="rId31"/>
    <p:sldId id="284" r:id="rId32"/>
    <p:sldId id="295" r:id="rId33"/>
    <p:sldId id="297" r:id="rId34"/>
    <p:sldId id="293" r:id="rId35"/>
    <p:sldId id="294" r:id="rId36"/>
    <p:sldId id="275" r:id="rId37"/>
    <p:sldId id="271" r:id="rId38"/>
    <p:sldId id="274" r:id="rId39"/>
    <p:sldId id="277" r:id="rId40"/>
    <p:sldId id="280" r:id="rId41"/>
    <p:sldId id="279" r:id="rId42"/>
    <p:sldId id="292" r:id="rId43"/>
    <p:sldId id="291" r:id="rId44"/>
    <p:sldId id="308" r:id="rId45"/>
    <p:sldId id="309" r:id="rId46"/>
    <p:sldId id="310" r:id="rId47"/>
    <p:sldId id="290" r:id="rId48"/>
    <p:sldId id="281" r:id="rId49"/>
    <p:sldId id="289" r:id="rId5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26/10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26/10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ideia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>
                <a:latin typeface="Corbel" panose="020B0503020204020204" pitchFamily="34" charset="0"/>
              </a:rPr>
              <a:t>Aumento </a:t>
            </a:r>
            <a:r>
              <a:rPr lang="pt-BR" sz="1800" smtClean="0">
                <a:latin typeface="Corbel" panose="020B0503020204020204" pitchFamily="34" charset="0"/>
              </a:rPr>
              <a:t>no </a:t>
            </a:r>
            <a:r>
              <a:rPr lang="pt-BR" sz="1800" dirty="0" smtClean="0">
                <a:latin typeface="Corbel" panose="020B0503020204020204" pitchFamily="34" charset="0"/>
              </a:rPr>
              <a:t>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?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o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8:10 as 8:45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8:45 as 9:15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5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6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6:50 as 17:00 – Duvidas e Reforç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1015701"/>
            <a:ext cx="11198225" cy="1857375"/>
          </a:xfrm>
        </p:spPr>
        <p:txBody>
          <a:bodyPr>
            <a:noAutofit/>
          </a:bodyPr>
          <a:lstStyle/>
          <a:p>
            <a:r>
              <a:rPr lang="pt-BR" sz="2000" dirty="0" smtClean="0"/>
              <a:t>Ao receber a tabela abaixo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2000" dirty="0" smtClean="0"/>
              <a:t>Qual o valor total de estoque que será dada a entrada no sistema (valor da célula D13)?</a:t>
            </a:r>
          </a:p>
          <a:p>
            <a:r>
              <a:rPr lang="pt-BR" sz="2000" dirty="0" smtClean="0"/>
              <a:t> Use formatação de moedas para diferenciar as colunas em reais e dólares, adicione cores e formatação para tornar o relatório apresentável.</a:t>
            </a:r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9582" y="3238052"/>
            <a:ext cx="5419725" cy="293370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rabalhando com Múltiplas planilha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e ações Tridimensionais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istribuição das despesas da empresa.</a:t>
            </a:r>
          </a:p>
          <a:p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e por Unidade.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do total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  <a:p>
            <a:pPr marL="0" indent="0">
              <a:buNone/>
            </a:pPr>
            <a:r>
              <a:rPr lang="pt-BR" sz="1800" dirty="0" smtClean="0"/>
              <a:t>PROCH: busca em um lista horizontal linh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Excel Permite Classificar as listas automaticamente de acordo com regras pré-estabelecidas (ordem numérica ou ordem alfabética) ou ainda baseada nas lista nativas e personalizadas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azer ordenação: Guia Dados, grupo classificar e Filtrar, comando classificar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iar lista personalizada: guia Arquivo , Opções, Avançado, Geral, Editar lista Personalizada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agios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149412" y="892885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5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:  negociamos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90</TotalTime>
  <Words>3363</Words>
  <Application>Microsoft Office PowerPoint</Application>
  <PresentationFormat>Widescreen</PresentationFormat>
  <Paragraphs>433</Paragraphs>
  <Slides>49</Slides>
  <Notes>0</Notes>
  <HiddenSlides>5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9</vt:i4>
      </vt:variant>
    </vt:vector>
  </HeadingPairs>
  <TitlesOfParts>
    <vt:vector size="55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39</cp:revision>
  <dcterms:created xsi:type="dcterms:W3CDTF">2018-08-19T15:50:37Z</dcterms:created>
  <dcterms:modified xsi:type="dcterms:W3CDTF">2018-10-26T17:54:05Z</dcterms:modified>
</cp:coreProperties>
</file>